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812" r:id="rId2"/>
    <p:sldId id="863" r:id="rId3"/>
    <p:sldId id="864" r:id="rId4"/>
    <p:sldId id="865" r:id="rId5"/>
    <p:sldId id="866" r:id="rId6"/>
    <p:sldId id="868" r:id="rId7"/>
    <p:sldId id="869" r:id="rId8"/>
    <p:sldId id="870" r:id="rId9"/>
    <p:sldId id="871" r:id="rId10"/>
    <p:sldId id="872" r:id="rId11"/>
    <p:sldId id="873" r:id="rId12"/>
    <p:sldId id="874" r:id="rId13"/>
    <p:sldId id="876" r:id="rId14"/>
    <p:sldId id="875" r:id="rId15"/>
    <p:sldId id="878" r:id="rId16"/>
    <p:sldId id="877" r:id="rId17"/>
    <p:sldId id="880" r:id="rId18"/>
    <p:sldId id="879" r:id="rId19"/>
    <p:sldId id="882" r:id="rId20"/>
    <p:sldId id="881" r:id="rId21"/>
    <p:sldId id="886" r:id="rId22"/>
    <p:sldId id="885" r:id="rId23"/>
    <p:sldId id="884" r:id="rId24"/>
    <p:sldId id="883" r:id="rId25"/>
    <p:sldId id="887" r:id="rId26"/>
    <p:sldId id="856" r:id="rId27"/>
  </p:sldIdLst>
  <p:sldSz cx="9144000" cy="5143500" type="screen16x9"/>
  <p:notesSz cx="6858000" cy="9144000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uze, Juul" initials="DJ" lastIdx="18" clrIdx="0">
    <p:extLst>
      <p:ext uri="{19B8F6BF-5375-455C-9EA6-DF929625EA0E}">
        <p15:presenceInfo xmlns:p15="http://schemas.microsoft.com/office/powerpoint/2012/main" userId="S-1-5-21-2052111302-790525478-839522115-89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9D8B"/>
    <a:srgbClr val="0066A1"/>
    <a:srgbClr val="0066A3"/>
    <a:srgbClr val="009F8C"/>
    <a:srgbClr val="920065"/>
    <a:srgbClr val="FF4072"/>
    <a:srgbClr val="FF8300"/>
    <a:srgbClr val="358F00"/>
    <a:srgbClr val="0067A2"/>
    <a:srgbClr val="8511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188" autoAdjust="0"/>
    <p:restoredTop sz="93177" autoAdjust="0"/>
  </p:normalViewPr>
  <p:slideViewPr>
    <p:cSldViewPr snapToGrid="0">
      <p:cViewPr varScale="1">
        <p:scale>
          <a:sx n="137" d="100"/>
          <a:sy n="137" d="100"/>
        </p:scale>
        <p:origin x="1176" y="12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2958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6D88A55-27A1-4726-B6BA-565570B037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F60674-C439-4C47-991B-97891DFF182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B6A92-9AC4-4241-A12D-3E444424FB26}" type="datetimeFigureOut">
              <a:rPr lang="en-IN" smtClean="0"/>
              <a:t>11-11-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188F0D-C29C-4E6C-958B-8709D00BDD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F97745-075A-4829-97D2-C764BFC9ED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909FF-10D1-4B66-B741-D72AB76F569D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813822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10CCDE-DDDC-4977-B090-4BB893DA5E37}" type="datetimeFigureOut">
              <a:rPr lang="en-US" smtClean="0"/>
              <a:pPr/>
              <a:t>2021-11-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309035-2A4D-4DEF-8CB7-7629389143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713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599180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7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6A4EE19E-E41D-40A4-A09A-888FA8E2FB8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6909" cy="5147994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</p:spTree>
    <p:extLst>
      <p:ext uri="{BB962C8B-B14F-4D97-AF65-F5344CB8AC3E}">
        <p14:creationId xmlns:p14="http://schemas.microsoft.com/office/powerpoint/2010/main" val="20393883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67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99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34254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with heading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227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22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Rectangle 7"/>
          <p:cNvSpPr/>
          <p:nvPr userDrawn="1"/>
        </p:nvSpPr>
        <p:spPr>
          <a:xfrm>
            <a:off x="503238" y="1245297"/>
            <a:ext cx="3820781" cy="343794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503238" y="1542229"/>
            <a:ext cx="3820781" cy="3107149"/>
          </a:xfrm>
          <a:prstGeom prst="rect">
            <a:avLst/>
          </a:prstGeom>
          <a:solidFill>
            <a:schemeClr val="bg1"/>
          </a:solidFill>
        </p:spPr>
        <p:txBody>
          <a:bodyPr lIns="90000" tIns="0" rIns="90000" bIns="0" spcCol="432000"/>
          <a:lstStyle>
            <a:lvl1pPr marL="135000" indent="-135000">
              <a:lnSpc>
                <a:spcPts val="1440"/>
              </a:lnSpc>
              <a:spcBef>
                <a:spcPts val="0"/>
              </a:spcBef>
              <a:defRPr sz="1200"/>
            </a:lvl1pPr>
            <a:lvl2pPr marL="297000" indent="-108000">
              <a:lnSpc>
                <a:spcPts val="144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1050"/>
            </a:lvl2pPr>
            <a:lvl3pPr marL="405000" indent="-108000">
              <a:lnSpc>
                <a:spcPts val="144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/>
            </a:lvl3pPr>
            <a:lvl4pPr marL="567000" indent="-135000">
              <a:lnSpc>
                <a:spcPts val="144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900"/>
            </a:lvl4pPr>
            <a:lvl5pPr marL="675000" indent="-108000">
              <a:lnSpc>
                <a:spcPts val="144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/>
            </a:lvl5pPr>
            <a:lvl6pPr marL="972000" indent="-17145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6pPr>
            <a:lvl7pPr marL="1134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7pPr>
            <a:lvl8pPr marL="1296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8pPr>
            <a:lvl9pPr marL="1458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3238" y="1219265"/>
            <a:ext cx="3820781" cy="27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90000" tIns="0" rIns="90000" bIns="0" spcCol="432000" anchor="ctr"/>
          <a:lstStyle>
            <a:lvl1pPr marL="0" indent="0">
              <a:lnSpc>
                <a:spcPts val="1620"/>
              </a:lnSpc>
              <a:spcBef>
                <a:spcPts val="0"/>
              </a:spcBef>
              <a:buNone/>
              <a:defRPr sz="1200" b="1"/>
            </a:lvl1pPr>
            <a:lvl2pPr marL="324000" indent="-135000">
              <a:lnSpc>
                <a:spcPts val="162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1200"/>
            </a:lvl2pPr>
            <a:lvl3pPr marL="432000" indent="-108000">
              <a:lnSpc>
                <a:spcPts val="162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/>
            </a:lvl3pPr>
            <a:lvl4pPr marL="594000" indent="-135000">
              <a:lnSpc>
                <a:spcPts val="162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1050"/>
            </a:lvl4pPr>
            <a:lvl5pPr marL="702000" indent="-108000">
              <a:lnSpc>
                <a:spcPts val="162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/>
            </a:lvl5pPr>
            <a:lvl6pPr marL="972000" indent="-17145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6pPr>
            <a:lvl7pPr marL="1134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7pPr>
            <a:lvl8pPr marL="1296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8pPr>
            <a:lvl9pPr marL="1458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9pPr>
          </a:lstStyle>
          <a:p>
            <a:pPr lvl="0"/>
            <a:r>
              <a:rPr lang="en-US" noProof="0" dirty="0"/>
              <a:t>Heading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4824447" y="1245297"/>
            <a:ext cx="3820781" cy="343794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4824447" y="1542229"/>
            <a:ext cx="3820781" cy="3107149"/>
          </a:xfrm>
          <a:prstGeom prst="rect">
            <a:avLst/>
          </a:prstGeom>
          <a:solidFill>
            <a:schemeClr val="bg1"/>
          </a:solidFill>
        </p:spPr>
        <p:txBody>
          <a:bodyPr lIns="90000" tIns="0" rIns="90000" bIns="0" spcCol="432000"/>
          <a:lstStyle>
            <a:lvl1pPr marL="135000" indent="-135000">
              <a:lnSpc>
                <a:spcPts val="1440"/>
              </a:lnSpc>
              <a:spcBef>
                <a:spcPts val="0"/>
              </a:spcBef>
              <a:defRPr sz="1200"/>
            </a:lvl1pPr>
            <a:lvl2pPr marL="297000" indent="-108000">
              <a:lnSpc>
                <a:spcPts val="144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1050"/>
            </a:lvl2pPr>
            <a:lvl3pPr marL="405000" indent="-108000">
              <a:lnSpc>
                <a:spcPts val="144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/>
            </a:lvl3pPr>
            <a:lvl4pPr marL="567000" indent="-135000">
              <a:lnSpc>
                <a:spcPts val="144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900"/>
            </a:lvl4pPr>
            <a:lvl5pPr marL="675000" indent="-108000">
              <a:lnSpc>
                <a:spcPts val="144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/>
            </a:lvl5pPr>
            <a:lvl6pPr marL="972000" indent="-17145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6pPr>
            <a:lvl7pPr marL="1134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7pPr>
            <a:lvl8pPr marL="1296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8pPr>
            <a:lvl9pPr marL="1458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824447" y="1219265"/>
            <a:ext cx="3820781" cy="27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90000" tIns="0" rIns="90000" bIns="0" spcCol="432000" anchor="ctr"/>
          <a:lstStyle>
            <a:lvl1pPr marL="0" indent="0">
              <a:lnSpc>
                <a:spcPts val="1620"/>
              </a:lnSpc>
              <a:spcBef>
                <a:spcPts val="0"/>
              </a:spcBef>
              <a:buNone/>
              <a:defRPr sz="1200" b="1"/>
            </a:lvl1pPr>
            <a:lvl2pPr marL="324000" indent="-135000">
              <a:lnSpc>
                <a:spcPts val="162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1200"/>
            </a:lvl2pPr>
            <a:lvl3pPr marL="432000" indent="-108000">
              <a:lnSpc>
                <a:spcPts val="162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/>
            </a:lvl3pPr>
            <a:lvl4pPr marL="594000" indent="-135000">
              <a:lnSpc>
                <a:spcPts val="162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1050"/>
            </a:lvl4pPr>
            <a:lvl5pPr marL="702000" indent="-108000">
              <a:lnSpc>
                <a:spcPts val="162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/>
            </a:lvl5pPr>
            <a:lvl6pPr marL="972000" indent="-17145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6pPr>
            <a:lvl7pPr marL="1134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7pPr>
            <a:lvl8pPr marL="1296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8pPr>
            <a:lvl9pPr marL="1458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9pPr>
          </a:lstStyle>
          <a:p>
            <a:pPr lvl="0"/>
            <a:r>
              <a:rPr lang="en-US" noProof="0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8074632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988103" y="1835838"/>
            <a:ext cx="1144502" cy="14578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163587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emf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48553763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11333B-FBA5-4875-A5DE-3B4281D761D5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E8F7B30E-EA8B-493C-86DB-F82608FA4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9"/>
            <a:ext cx="7523937" cy="6985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5D2E64-2649-4557-8200-E78DF2A57EFC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7297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A08C5-5A5A-413C-BB47-80E1FBC063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826" y="4884454"/>
            <a:ext cx="718767" cy="1079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rgbClr val="000000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48068" y="4884454"/>
            <a:ext cx="3910151" cy="1079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0" y="4864360"/>
            <a:ext cx="199973" cy="150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5" y="1217613"/>
            <a:ext cx="8135939" cy="34607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5396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701" r:id="rId2"/>
    <p:sldLayoutId id="2147483750" r:id="rId3"/>
    <p:sldLayoutId id="2147483727" r:id="rId4"/>
  </p:sldLayoutIdLs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en-US" sz="2400" kern="120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1925" indent="-16192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2004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29768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US" sz="1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01675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IN" sz="1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 userDrawn="1">
          <p15:clr>
            <a:srgbClr val="000000"/>
          </p15:clr>
        </p15:guide>
        <p15:guide id="2" pos="5443" userDrawn="1">
          <p15:clr>
            <a:srgbClr val="000000"/>
          </p15:clr>
        </p15:guide>
        <p15:guide id="3" pos="5057" userDrawn="1">
          <p15:clr>
            <a:srgbClr val="000000"/>
          </p15:clr>
        </p15:guide>
        <p15:guide id="4" orient="horz" pos="237" userDrawn="1">
          <p15:clr>
            <a:srgbClr val="000000"/>
          </p15:clr>
        </p15:guide>
        <p15:guide id="5" orient="horz" pos="690" userDrawn="1">
          <p15:clr>
            <a:srgbClr val="000000"/>
          </p15:clr>
        </p15:guide>
        <p15:guide id="6" orient="horz" pos="758" userDrawn="1">
          <p15:clr>
            <a:srgbClr val="000000"/>
          </p15:clr>
        </p15:guide>
        <p15:guide id="7" orient="horz" pos="2958" userDrawn="1">
          <p15:clr>
            <a:srgbClr val="000000"/>
          </p15:clr>
        </p15:guide>
        <p15:guide id="8" pos="3039" userDrawn="1">
          <p15:clr>
            <a:srgbClr val="000000"/>
          </p15:clr>
        </p15:guide>
        <p15:guide id="10" pos="2880" userDrawn="1">
          <p15:clr>
            <a:srgbClr val="000000"/>
          </p15:clr>
        </p15:guide>
        <p15:guide id="11" pos="2721" userDrawn="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f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fi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fi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fi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EDA0584-6FE1-474D-8F81-AD30AB1C15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4113" y="1357086"/>
            <a:ext cx="2371725" cy="192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173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10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94115" y="1683435"/>
            <a:ext cx="59944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i="0" dirty="0">
                <a:effectLst/>
                <a:latin typeface="Segoe UI" panose="020B0502040204020203" pitchFamily="34" charset="0"/>
              </a:rPr>
              <a:t>Bus/Transport – (</a:t>
            </a:r>
            <a:r>
              <a:rPr lang="en-US" sz="2400" dirty="0">
                <a:latin typeface="Segoe UI" panose="020B0502040204020203" pitchFamily="34" charset="0"/>
              </a:rPr>
              <a:t>43</a:t>
            </a:r>
            <a:r>
              <a:rPr lang="en-US" sz="2400" b="0" i="0" dirty="0">
                <a:effectLst/>
                <a:latin typeface="Segoe UI" panose="020B0502040204020203" pitchFamily="34" charset="0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Food/Restaurant  - (3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Money/Paycheck – (17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Grocery/Check out – (10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0148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11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94115" y="1683435"/>
            <a:ext cx="59944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0" i="0" dirty="0">
                <a:effectLst/>
                <a:latin typeface="Segoe UI" panose="020B0502040204020203" pitchFamily="34" charset="0"/>
              </a:rPr>
              <a:t>Name Something That’s Hard To Do With Your Eyes Open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51650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12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94115" y="1683435"/>
            <a:ext cx="59944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Sleep</a:t>
            </a:r>
            <a:r>
              <a:rPr lang="en-US" sz="2400" b="0" i="0" dirty="0">
                <a:effectLst/>
                <a:latin typeface="Segoe UI" panose="020B0502040204020203" pitchFamily="34" charset="0"/>
              </a:rPr>
              <a:t>/Dream – (75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Sneeze  - (2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Kiss– (3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Swim/Dive– (2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48375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13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94115" y="1683435"/>
            <a:ext cx="59944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0" i="0" dirty="0">
                <a:effectLst/>
                <a:latin typeface="Segoe UI" panose="020B0502040204020203" pitchFamily="34" charset="0"/>
              </a:rPr>
              <a:t>When You Call in Sick to Work or School, Name Something You Do to Make it Believabl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451554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14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94115" y="1683435"/>
            <a:ext cx="59944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Cough </a:t>
            </a:r>
            <a:r>
              <a:rPr lang="en-US" sz="2400" b="0" i="0" dirty="0">
                <a:effectLst/>
                <a:latin typeface="Segoe UI" panose="020B0502040204020203" pitchFamily="34" charset="0"/>
              </a:rPr>
              <a:t>– (</a:t>
            </a:r>
            <a:r>
              <a:rPr lang="en-US" sz="2400" dirty="0">
                <a:latin typeface="Segoe UI" panose="020B0502040204020203" pitchFamily="34" charset="0"/>
              </a:rPr>
              <a:t>68</a:t>
            </a:r>
            <a:r>
              <a:rPr lang="en-US" sz="2400" b="0" i="0" dirty="0">
                <a:effectLst/>
                <a:latin typeface="Segoe UI" panose="020B0502040204020203" pitchFamily="34" charset="0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Hoarse/Weak Voice  - (18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Moan/Groan – (8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Fake Doctor’s note– (6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812302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15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94115" y="1683435"/>
            <a:ext cx="59944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0" i="0" dirty="0">
                <a:effectLst/>
                <a:latin typeface="Segoe UI" panose="020B0502040204020203" pitchFamily="34" charset="0"/>
              </a:rPr>
              <a:t>Name something that might wake you up in the middle of the night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150234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16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94115" y="1683435"/>
            <a:ext cx="59944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A Loud Noise </a:t>
            </a:r>
            <a:r>
              <a:rPr lang="en-US" sz="2400" b="0" i="0" dirty="0">
                <a:effectLst/>
                <a:latin typeface="Segoe UI" panose="020B0502040204020203" pitchFamily="34" charset="0"/>
              </a:rPr>
              <a:t>– (35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A Nightmare - (29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Being Thirsty – (2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Having to use bathroom – (16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693575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17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86858" y="1683435"/>
            <a:ext cx="5994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dirty="0">
                <a:effectLst/>
                <a:latin typeface="Segoe UI" panose="020B0502040204020203" pitchFamily="34" charset="0"/>
              </a:rPr>
              <a:t>What are things that come in pairs?</a:t>
            </a:r>
          </a:p>
        </p:txBody>
      </p:sp>
    </p:spTree>
    <p:extLst>
      <p:ext uri="{BB962C8B-B14F-4D97-AF65-F5344CB8AC3E}">
        <p14:creationId xmlns:p14="http://schemas.microsoft.com/office/powerpoint/2010/main" val="1585541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18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94115" y="1683435"/>
            <a:ext cx="59944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Shoes </a:t>
            </a:r>
            <a:r>
              <a:rPr lang="en-US" sz="2400" b="0" i="0" dirty="0">
                <a:effectLst/>
                <a:latin typeface="Segoe UI" panose="020B0502040204020203" pitchFamily="34" charset="0"/>
              </a:rPr>
              <a:t>– (35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Socks - (29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Feet – (2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Eyes – (16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07526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19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86858" y="1683435"/>
            <a:ext cx="5994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What do people usually lose or misplace?</a:t>
            </a:r>
            <a:endParaRPr lang="en-US" sz="2400" dirty="0">
              <a:effectLst/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438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2</a:t>
            </a:fld>
            <a:endParaRPr lang="en-IN"/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96E6555C-0760-41DF-8D99-0C03F591F8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552" y="931252"/>
            <a:ext cx="5108871" cy="2798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08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20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94115" y="1683435"/>
            <a:ext cx="59944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Tv Remote </a:t>
            </a:r>
            <a:r>
              <a:rPr lang="en-US" sz="2400" b="0" i="0" dirty="0">
                <a:effectLst/>
                <a:latin typeface="Segoe UI" panose="020B0502040204020203" pitchFamily="34" charset="0"/>
              </a:rPr>
              <a:t>– (36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Keys - (27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Phone – (24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Glasses – (13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63153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21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86858" y="1683435"/>
            <a:ext cx="5994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What do you miss about school?</a:t>
            </a:r>
            <a:endParaRPr lang="en-US" sz="2400" dirty="0">
              <a:effectLst/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421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22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94115" y="1683435"/>
            <a:ext cx="59944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Friends</a:t>
            </a:r>
            <a:r>
              <a:rPr lang="en-US" sz="2400" b="0" i="0" dirty="0">
                <a:effectLst/>
                <a:latin typeface="Segoe UI" panose="020B0502040204020203" pitchFamily="34" charset="0"/>
              </a:rPr>
              <a:t>– (33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Recess - (29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Lunchtime – (23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Teachers – </a:t>
            </a:r>
            <a:r>
              <a:rPr lang="en-US" sz="2400">
                <a:latin typeface="Segoe UI" panose="020B0502040204020203" pitchFamily="34" charset="0"/>
              </a:rPr>
              <a:t>(15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55853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23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86857" y="1683435"/>
            <a:ext cx="6248399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i="0" dirty="0">
                <a:effectLst/>
                <a:latin typeface="Open Sans" panose="020B0606030504020204" pitchFamily="34" charset="0"/>
              </a:rPr>
              <a:t>In which place are you told to use your inside voice?</a:t>
            </a:r>
            <a:endParaRPr lang="en-US" sz="2400" dirty="0">
              <a:effectLst/>
              <a:latin typeface="Segoe UI" panose="020B0502040204020203" pitchFamily="34" charset="0"/>
            </a:endParaRPr>
          </a:p>
          <a:p>
            <a:r>
              <a:rPr lang="en-US" sz="2400" b="0" i="0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/>
            </a:r>
            <a:br>
              <a:rPr lang="en-US" sz="2400" b="0" i="0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</a:br>
            <a:endParaRPr lang="en-US" sz="2400" dirty="0">
              <a:effectLst/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7950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24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94115" y="1683435"/>
            <a:ext cx="59944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Library</a:t>
            </a:r>
            <a:r>
              <a:rPr lang="en-US" sz="2400" b="0" i="0" dirty="0">
                <a:effectLst/>
                <a:latin typeface="Segoe UI" panose="020B0502040204020203" pitchFamily="34" charset="0"/>
              </a:rPr>
              <a:t>– (</a:t>
            </a:r>
            <a:r>
              <a:rPr lang="en-US" sz="2400" dirty="0">
                <a:latin typeface="Segoe UI" panose="020B0502040204020203" pitchFamily="34" charset="0"/>
              </a:rPr>
              <a:t>57</a:t>
            </a:r>
            <a:r>
              <a:rPr lang="en-US" sz="2400" b="0" i="0" dirty="0">
                <a:effectLst/>
                <a:latin typeface="Segoe UI" panose="020B0502040204020203" pitchFamily="34" charset="0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Movie Theatre - (17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Hospital – (14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Place of Worship – (12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36548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25</a:t>
            </a:fld>
            <a:endParaRPr lang="en-IN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050" y="1309687"/>
            <a:ext cx="3771900" cy="2524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471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20772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3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3AA10A-CD9C-41F9-A5C2-195D364515D7}"/>
              </a:ext>
            </a:extLst>
          </p:cNvPr>
          <p:cNvSpPr txBox="1"/>
          <p:nvPr/>
        </p:nvSpPr>
        <p:spPr>
          <a:xfrm>
            <a:off x="1001486" y="362858"/>
            <a:ext cx="443411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endParaRPr lang="en-US" dirty="0">
              <a:effectLst/>
              <a:latin typeface="Segoe UI" panose="020B0502040204020203" pitchFamily="34" charset="0"/>
            </a:endParaRPr>
          </a:p>
          <a:p>
            <a:pPr rtl="0"/>
            <a:endParaRPr lang="en-US" dirty="0"/>
          </a:p>
          <a:p>
            <a:pPr rtl="0"/>
            <a:r>
              <a:rPr lang="en-US" dirty="0">
                <a:effectLst/>
                <a:latin typeface="Segoe UI" panose="020B0502040204020203" pitchFamily="34" charset="0"/>
              </a:rPr>
              <a:t>Find </a:t>
            </a:r>
            <a:r>
              <a:rPr lang="en-US" dirty="0">
                <a:latin typeface="Segoe UI" panose="020B0502040204020203" pitchFamily="34" charset="0"/>
              </a:rPr>
              <a:t>S</a:t>
            </a:r>
            <a:r>
              <a:rPr lang="en-US" dirty="0">
                <a:effectLst/>
                <a:latin typeface="Segoe UI" panose="020B0502040204020203" pitchFamily="34" charset="0"/>
              </a:rPr>
              <a:t>omething that</a:t>
            </a:r>
            <a:r>
              <a:rPr lang="en-US" dirty="0">
                <a:latin typeface="Segoe UI" panose="020B0502040204020203" pitchFamily="34" charset="0"/>
              </a:rPr>
              <a:t> is</a:t>
            </a:r>
          </a:p>
          <a:p>
            <a:pPr rtl="0"/>
            <a:r>
              <a:rPr lang="en-US" dirty="0">
                <a:effectLst/>
                <a:latin typeface="Segoe UI" panose="020B0502040204020203" pitchFamily="34" charset="0"/>
              </a:rPr>
              <a:t> </a:t>
            </a:r>
          </a:p>
          <a:p>
            <a:pPr rtl="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Segoe UI" panose="020B0502040204020203" pitchFamily="34" charset="0"/>
              </a:rPr>
              <a:t> Red</a:t>
            </a:r>
          </a:p>
          <a:p>
            <a:pPr rtl="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Segoe UI" panose="020B0502040204020203" pitchFamily="34" charset="0"/>
              </a:rPr>
              <a:t> has wheels </a:t>
            </a:r>
          </a:p>
          <a:p>
            <a:pPr rtl="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Segoe UI" panose="020B0502040204020203" pitchFamily="34" charset="0"/>
              </a:rPr>
              <a:t> bigger than your hand</a:t>
            </a:r>
          </a:p>
          <a:p>
            <a:pPr rtl="0"/>
            <a:endParaRPr lang="en-US" dirty="0">
              <a:effectLst/>
              <a:latin typeface="Segoe UI" panose="020B050204020402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68AD0E1-FC23-400C-98D3-7786C06F05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8380" y="2291216"/>
            <a:ext cx="2143125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05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4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3AA10A-CD9C-41F9-A5C2-195D364515D7}"/>
              </a:ext>
            </a:extLst>
          </p:cNvPr>
          <p:cNvSpPr txBox="1"/>
          <p:nvPr/>
        </p:nvSpPr>
        <p:spPr>
          <a:xfrm>
            <a:off x="979715" y="711200"/>
            <a:ext cx="4434114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endParaRPr lang="en-US" dirty="0">
              <a:effectLst/>
              <a:latin typeface="Segoe UI" panose="020B0502040204020203" pitchFamily="34" charset="0"/>
            </a:endParaRPr>
          </a:p>
          <a:p>
            <a:pPr rtl="0"/>
            <a:r>
              <a:rPr lang="en-US" dirty="0">
                <a:effectLst/>
                <a:latin typeface="Segoe UI" panose="020B0502040204020203" pitchFamily="34" charset="0"/>
              </a:rPr>
              <a:t>Find </a:t>
            </a:r>
            <a:r>
              <a:rPr lang="en-US" dirty="0">
                <a:latin typeface="Segoe UI" panose="020B0502040204020203" pitchFamily="34" charset="0"/>
              </a:rPr>
              <a:t>S</a:t>
            </a:r>
            <a:r>
              <a:rPr lang="en-US" dirty="0">
                <a:effectLst/>
                <a:latin typeface="Segoe UI" panose="020B0502040204020203" pitchFamily="34" charset="0"/>
              </a:rPr>
              <a:t>omething that</a:t>
            </a:r>
            <a:r>
              <a:rPr lang="en-US" dirty="0">
                <a:latin typeface="Segoe UI" panose="020B0502040204020203" pitchFamily="34" charset="0"/>
              </a:rPr>
              <a:t> </a:t>
            </a:r>
          </a:p>
          <a:p>
            <a:pPr rtl="0"/>
            <a:endParaRPr lang="en-US" dirty="0">
              <a:latin typeface="Segoe UI" panose="020B0502040204020203" pitchFamily="34" charset="0"/>
            </a:endParaRPr>
          </a:p>
          <a:p>
            <a:pPr rtl="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Segoe UI" panose="020B0502040204020203" pitchFamily="34" charset="0"/>
              </a:rPr>
              <a:t> you wear</a:t>
            </a:r>
          </a:p>
          <a:p>
            <a:pPr rtl="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Segoe UI" panose="020B0502040204020203" pitchFamily="34" charset="0"/>
              </a:rPr>
              <a:t> has buttons </a:t>
            </a:r>
          </a:p>
          <a:p>
            <a:pPr rtl="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Segoe UI" panose="020B0502040204020203" pitchFamily="34" charset="0"/>
              </a:rPr>
              <a:t> but not a cloth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8A9567-7CE2-477A-8B0E-8BEC61BF07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8380" y="2291216"/>
            <a:ext cx="2143125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017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5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3AA10A-CD9C-41F9-A5C2-195D364515D7}"/>
              </a:ext>
            </a:extLst>
          </p:cNvPr>
          <p:cNvSpPr txBox="1"/>
          <p:nvPr/>
        </p:nvSpPr>
        <p:spPr>
          <a:xfrm>
            <a:off x="892628" y="667658"/>
            <a:ext cx="4434114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endParaRPr lang="en-US" dirty="0"/>
          </a:p>
          <a:p>
            <a:pPr rtl="0"/>
            <a:r>
              <a:rPr lang="en-US" dirty="0">
                <a:effectLst/>
                <a:latin typeface="Segoe UI" panose="020B0502040204020203" pitchFamily="34" charset="0"/>
              </a:rPr>
              <a:t>Find </a:t>
            </a:r>
            <a:r>
              <a:rPr lang="en-US" dirty="0">
                <a:latin typeface="Segoe UI" panose="020B0502040204020203" pitchFamily="34" charset="0"/>
              </a:rPr>
              <a:t>S</a:t>
            </a:r>
            <a:r>
              <a:rPr lang="en-US" dirty="0">
                <a:effectLst/>
                <a:latin typeface="Segoe UI" panose="020B0502040204020203" pitchFamily="34" charset="0"/>
              </a:rPr>
              <a:t>omething that:</a:t>
            </a:r>
          </a:p>
          <a:p>
            <a:pPr rtl="0"/>
            <a:endParaRPr lang="en-US" dirty="0">
              <a:latin typeface="Segoe UI" panose="020B0502040204020203" pitchFamily="34" charset="0"/>
            </a:endParaRPr>
          </a:p>
          <a:p>
            <a:pPr rtl="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Segoe UI" panose="020B0502040204020203" pitchFamily="34" charset="0"/>
              </a:rPr>
              <a:t> Is multicolored </a:t>
            </a:r>
          </a:p>
          <a:p>
            <a:pPr rtl="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Segoe UI" panose="020B0502040204020203" pitchFamily="34" charset="0"/>
              </a:rPr>
              <a:t> Smells good </a:t>
            </a:r>
          </a:p>
          <a:p>
            <a:pPr rtl="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Segoe UI" panose="020B0502040204020203" pitchFamily="34" charset="0"/>
              </a:rPr>
              <a:t> Starts with the first letter in your name </a:t>
            </a: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1192A2C8-C6C6-4060-83A4-0B469D891B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8380" y="2291216"/>
            <a:ext cx="2143125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459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6</a:t>
            </a:fld>
            <a:endParaRPr lang="en-IN"/>
          </a:p>
        </p:txBody>
      </p:sp>
      <p:pic>
        <p:nvPicPr>
          <p:cNvPr id="4" name="Picture 3" descr="Text, logo&#10;&#10;Description automatically generated">
            <a:extLst>
              <a:ext uri="{FF2B5EF4-FFF2-40B4-BE49-F238E27FC236}">
                <a16:creationId xmlns:a16="http://schemas.microsoft.com/office/drawing/2014/main" id="{66E8C805-0B08-495C-98F4-0B7E814611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300" y="1762125"/>
            <a:ext cx="2819400" cy="1619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2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7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94115" y="1683435"/>
            <a:ext cx="59944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0" i="0" dirty="0">
                <a:effectLst/>
                <a:latin typeface="Segoe UI" panose="020B0502040204020203" pitchFamily="34" charset="0"/>
              </a:rPr>
              <a:t>If You Got Stuck In The Desert, What Would You Want To Have With You?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817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8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94115" y="1683435"/>
            <a:ext cx="59944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i="0" dirty="0">
                <a:effectLst/>
                <a:latin typeface="Segoe UI" panose="020B0502040204020203" pitchFamily="34" charset="0"/>
              </a:rPr>
              <a:t>Water – (58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Food  - (17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Cell Phone – (16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Segoe UI" panose="020B0502040204020203" pitchFamily="34" charset="0"/>
              </a:rPr>
              <a:t>Camel </a:t>
            </a:r>
            <a:r>
              <a:rPr lang="en-US" sz="2400">
                <a:latin typeface="Segoe UI" panose="020B0502040204020203" pitchFamily="34" charset="0"/>
              </a:rPr>
              <a:t>– </a:t>
            </a:r>
            <a:r>
              <a:rPr lang="en-US" sz="2400" smtClean="0">
                <a:latin typeface="Segoe UI" panose="020B0502040204020203" pitchFamily="34" charset="0"/>
              </a:rPr>
              <a:t>(9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529770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75000"/>
            <a:alpha val="8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9</a:t>
            </a:fld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EBDE9-3797-4DE4-AAD3-ACFB6236D196}"/>
              </a:ext>
            </a:extLst>
          </p:cNvPr>
          <p:cNvSpPr txBox="1"/>
          <p:nvPr/>
        </p:nvSpPr>
        <p:spPr>
          <a:xfrm>
            <a:off x="1894115" y="1683435"/>
            <a:ext cx="5994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0" i="0" dirty="0">
                <a:effectLst/>
                <a:latin typeface="Segoe UI" panose="020B0502040204020203" pitchFamily="34" charset="0"/>
              </a:rPr>
              <a:t>Name something people hate waiting for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92255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3.43900000000000005684E+00&quot;&gt;&lt;m_msothmcolidx val=&quot;0&quot;/&gt;&lt;m_rgb r=&quot;A3&quot; g=&quot;D9&quot; b=&quot;D9&quot;/&gt;&lt;m_nBrightness val=&quot;0&quot;/&gt;&lt;/elem&gt;&lt;elem m_fUsage=&quot;1.41682643648100059508E+00&quot;&gt;&lt;m_msothmcolidx val=&quot;0&quot;/&gt;&lt;m_rgb r=&quot;9E&quot; g=&quot;2D&quot; b=&quot;B1&quot;/&gt;&lt;m_nBrightness val=&quot;0&quot;/&gt;&lt;/elem&gt;&lt;elem m_fUsage=&quot;1.20667841354961047351E+00&quot;&gt;&lt;m_msothmcolidx val=&quot;0&quot;/&gt;&lt;m_rgb r=&quot;EC&quot; g=&quot;43&quot; b=&quot;71&quot;/&gt;&lt;m_nBrightness val=&quot;0&quot;/&gt;&lt;/elem&gt;&lt;elem m_fUsage=&quot;8.80119440100000316463E-01&quot;&gt;&lt;m_msothmcolidx val=&quot;0&quot;/&gt;&lt;m_rgb r=&quot;00&quot; g=&quot;8E&quot; b=&quot;CC&quot;/&gt;&lt;m_nBrightness val=&quot;0&quot;/&gt;&lt;/elem&gt;&lt;elem m_fUsage=&quot;6.84653792832900287557E-01&quot;&gt;&lt;m_msothmcolidx val=&quot;0&quot;/&gt;&lt;m_rgb r=&quot;9E&quot; g=&quot;2D&quot; b=&quot;11&quot;/&gt;&lt;m_nBrightness val=&quot;0&quot;/&gt;&lt;/elem&gt;&lt;elem m_fUsage=&quot;3.13810596090000171188E-01&quot;&gt;&lt;m_msothmcolidx val=&quot;0&quot;/&gt;&lt;m_rgb r=&quot;09&quot; g=&quot;A3&quot; b=&quot;FF&quot;/&gt;&lt;m_nBrightness val=&quot;0&quot;/&gt;&lt;/elem&gt;&lt;elem m_fUsage=&quot;2.05891132094649098594E-01&quot;&gt;&lt;m_msothmcolidx val=&quot;0&quot;/&gt;&lt;m_rgb r=&quot;D3&quot; g=&quot;E8&quot; b=&quot;E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atYagSyKSJhzbVoC0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heme/theme1.xml><?xml version="1.0" encoding="utf-8"?>
<a:theme xmlns:a="http://schemas.openxmlformats.org/drawingml/2006/main" name="presentation_template_16x9_Jun18">
  <a:themeElements>
    <a:clrScheme name="Philip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66A1"/>
      </a:accent1>
      <a:accent2>
        <a:srgbClr val="1E9D8B"/>
      </a:accent2>
      <a:accent3>
        <a:srgbClr val="5B8F22"/>
      </a:accent3>
      <a:accent4>
        <a:srgbClr val="E98300"/>
      </a:accent4>
      <a:accent5>
        <a:srgbClr val="EC4371"/>
      </a:accent5>
      <a:accent6>
        <a:srgbClr val="9E2DB1"/>
      </a:accent6>
      <a:hlink>
        <a:srgbClr val="0089C4"/>
      </a:hlink>
      <a:folHlink>
        <a:srgbClr val="631D76"/>
      </a:folHlink>
    </a:clrScheme>
    <a:fontScheme name="Philips_New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Group_Strategy_16x9_presentation_template.2017.pptx" id="{4B9EE3A2-89DB-4157-BB2A-B8E71C5F1D99}" vid="{01F8021D-25BF-415F-9534-AC49C93616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</TotalTime>
  <Words>374</Words>
  <Application>Microsoft Office PowerPoint</Application>
  <PresentationFormat>On-screen Show (16:9)</PresentationFormat>
  <Paragraphs>89</Paragraphs>
  <Slides>2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Arial</vt:lpstr>
      <vt:lpstr>Calibri</vt:lpstr>
      <vt:lpstr>Calibri Light</vt:lpstr>
      <vt:lpstr>Open Sans</vt:lpstr>
      <vt:lpstr>Segoe UI</vt:lpstr>
      <vt:lpstr>presentation_template_16x9_Jun18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OW</dc:creator>
  <cp:lastModifiedBy>Ganta, Sanjay</cp:lastModifiedBy>
  <cp:revision>187</cp:revision>
  <dcterms:created xsi:type="dcterms:W3CDTF">2018-06-24T08:41:05Z</dcterms:created>
  <dcterms:modified xsi:type="dcterms:W3CDTF">2021-11-11T09:47:45Z</dcterms:modified>
</cp:coreProperties>
</file>